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1"/>
  </p:notesMasterIdLst>
  <p:handoutMasterIdLst>
    <p:handoutMasterId r:id="rId22"/>
  </p:handoutMasterIdLst>
  <p:sldIdLst>
    <p:sldId id="271" r:id="rId3"/>
    <p:sldId id="295" r:id="rId4"/>
    <p:sldId id="298" r:id="rId5"/>
    <p:sldId id="296" r:id="rId6"/>
    <p:sldId id="297" r:id="rId7"/>
    <p:sldId id="306" r:id="rId8"/>
    <p:sldId id="307" r:id="rId9"/>
    <p:sldId id="308" r:id="rId10"/>
    <p:sldId id="309" r:id="rId11"/>
    <p:sldId id="310" r:id="rId12"/>
    <p:sldId id="311" r:id="rId13"/>
    <p:sldId id="312" r:id="rId14"/>
    <p:sldId id="313" r:id="rId15"/>
    <p:sldId id="314" r:id="rId16"/>
    <p:sldId id="316" r:id="rId17"/>
    <p:sldId id="304" r:id="rId18"/>
    <p:sldId id="317" r:id="rId19"/>
    <p:sldId id="318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E34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4343" autoAdjust="0"/>
  </p:normalViewPr>
  <p:slideViewPr>
    <p:cSldViewPr snapToGrid="0">
      <p:cViewPr varScale="1">
        <p:scale>
          <a:sx n="65" d="100"/>
          <a:sy n="65" d="100"/>
        </p:scale>
        <p:origin x="85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6" d="100"/>
          <a:sy n="56" d="100"/>
        </p:scale>
        <p:origin x="2856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90C8BB-D8C3-49FC-A696-B8C1C4965575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3AD702-A66C-45EF-B858-C1848DF37B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1506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AA1545-D724-4440-9217-E6E0C7A03971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6F220D-C36F-4D16-BC11-72525244A3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18819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>
          <a:xfrm>
            <a:off x="471488" y="5334000"/>
            <a:ext cx="5861050" cy="246063"/>
          </a:xfrm>
          <a:noFill/>
        </p:spPr>
        <p:txBody>
          <a:bodyPr/>
          <a:lstStyle/>
          <a:p>
            <a:endParaRPr lang="en-US" altLang="en-US" dirty="0" smtClean="0">
              <a:latin typeface="Arial" panose="020B0604020202020204" pitchFamily="34" charset="0"/>
            </a:endParaRPr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10E0539-31DD-42F9-977D-6EAF183DEF70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0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69664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slideMaster" Target="../slideMasters/slideMaster2.xml"/><Relationship Id="rId18" Type="http://schemas.openxmlformats.org/officeDocument/2006/relationships/image" Target="../media/image6.png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image" Target="../media/image3.emf"/><Relationship Id="rId2" Type="http://schemas.openxmlformats.org/officeDocument/2006/relationships/tags" Target="../tags/tag31.xml"/><Relationship Id="rId16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5" Type="http://schemas.openxmlformats.org/officeDocument/2006/relationships/image" Target="../media/image5.jpeg"/><Relationship Id="rId10" Type="http://schemas.openxmlformats.org/officeDocument/2006/relationships/tags" Target="../tags/tag39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513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432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776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67"/>
          <p:cNvGrpSpPr>
            <a:grpSpLocks/>
          </p:cNvGrpSpPr>
          <p:nvPr userDrawn="1">
            <p:custDataLst>
              <p:tags r:id="rId2"/>
            </p:custDataLst>
          </p:nvPr>
        </p:nvGrpSpPr>
        <p:grpSpPr bwMode="auto">
          <a:xfrm>
            <a:off x="107990" y="492403"/>
            <a:ext cx="5412427" cy="4468877"/>
            <a:chOff x="0" y="1231697"/>
            <a:chExt cx="3692279" cy="4063693"/>
          </a:xfrm>
        </p:grpSpPr>
        <p:pic>
          <p:nvPicPr>
            <p:cNvPr id="5" name="Picture 1485" descr="C:\Users\Krithika R\Desktop\7_273_273_90.jpg"/>
            <p:cNvPicPr>
              <a:picLocks noChangeArrowheads="1"/>
            </p:cNvPicPr>
            <p:nvPr userDrawn="1">
              <p:custDataLst>
                <p:tags r:id="rId11"/>
              </p:custDataLst>
            </p:nvPr>
          </p:nvPicPr>
          <p:blipFill rotWithShape="1">
            <a:blip r:embed="rId1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0" y="1231697"/>
              <a:ext cx="3692279" cy="40636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>
              <a:spLocks/>
            </p:cNvSpPr>
            <p:nvPr userDrawn="1">
              <p:custDataLst>
                <p:tags r:id="rId12"/>
              </p:custDataLst>
            </p:nvPr>
          </p:nvSpPr>
          <p:spPr bwMode="gray">
            <a:xfrm>
              <a:off x="0" y="1231697"/>
              <a:ext cx="3692279" cy="4063693"/>
            </a:xfrm>
            <a:prstGeom prst="rect">
              <a:avLst/>
            </a:prstGeom>
            <a:solidFill>
              <a:schemeClr val="bg1">
                <a:alpha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837" dirty="0" err="1">
                <a:solidFill>
                  <a:schemeClr val="tx1"/>
                </a:solidFill>
              </a:endParaRPr>
            </a:p>
          </p:txBody>
        </p:sp>
      </p:grpSp>
      <p:pic>
        <p:nvPicPr>
          <p:cNvPr id="7" name="Picture 1"/>
          <p:cNvPicPr>
            <a:picLocks noChangeAspect="1" noChangeArrowheads="1"/>
          </p:cNvPicPr>
          <p:nvPr userDrawn="1"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566"/>
          <a:stretch>
            <a:fillRect/>
          </a:stretch>
        </p:blipFill>
        <p:spPr bwMode="auto">
          <a:xfrm>
            <a:off x="0" y="505361"/>
            <a:ext cx="12192000" cy="55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</a:blip>
                  <a:srcRect b="12566"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auto">
          <a:xfrm>
            <a:off x="3546371" y="505360"/>
            <a:ext cx="2160" cy="4114152"/>
          </a:xfrm>
          <a:prstGeom prst="line">
            <a:avLst/>
          </a:prstGeom>
          <a:noFill/>
          <a:ln w="18360">
            <a:solidFill>
              <a:srgbClr val="0084D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1" tIns="45716" rIns="91431" bIns="45716"/>
          <a:lstStyle/>
          <a:p>
            <a:endParaRPr lang="en-US" sz="1837"/>
          </a:p>
        </p:txBody>
      </p:sp>
      <p:sp>
        <p:nvSpPr>
          <p:cNvPr id="9" name="Line 7"/>
          <p:cNvSpPr>
            <a:spLocks noChangeShapeType="1"/>
          </p:cNvSpPr>
          <p:nvPr userDrawn="1"/>
        </p:nvSpPr>
        <p:spPr bwMode="auto">
          <a:xfrm>
            <a:off x="2825002" y="505360"/>
            <a:ext cx="2160" cy="4114152"/>
          </a:xfrm>
          <a:prstGeom prst="line">
            <a:avLst/>
          </a:prstGeom>
          <a:noFill/>
          <a:ln w="36720">
            <a:solidFill>
              <a:srgbClr val="0084D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1" tIns="45716" rIns="91431" bIns="45716"/>
          <a:lstStyle/>
          <a:p>
            <a:endParaRPr lang="en-US" sz="1837"/>
          </a:p>
        </p:txBody>
      </p:sp>
      <p:sp>
        <p:nvSpPr>
          <p:cNvPr id="10" name="Line 8"/>
          <p:cNvSpPr>
            <a:spLocks noChangeShapeType="1"/>
          </p:cNvSpPr>
          <p:nvPr userDrawn="1"/>
        </p:nvSpPr>
        <p:spPr bwMode="auto">
          <a:xfrm>
            <a:off x="1961087" y="505360"/>
            <a:ext cx="0" cy="4114152"/>
          </a:xfrm>
          <a:prstGeom prst="line">
            <a:avLst/>
          </a:prstGeom>
          <a:noFill/>
          <a:ln w="73080">
            <a:solidFill>
              <a:srgbClr val="0084D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1" tIns="45716" rIns="91431" bIns="45716"/>
          <a:lstStyle/>
          <a:p>
            <a:endParaRPr lang="en-US" sz="1837"/>
          </a:p>
        </p:txBody>
      </p:sp>
      <p:sp>
        <p:nvSpPr>
          <p:cNvPr id="11" name="Line 9"/>
          <p:cNvSpPr>
            <a:spLocks noChangeShapeType="1"/>
          </p:cNvSpPr>
          <p:nvPr userDrawn="1"/>
        </p:nvSpPr>
        <p:spPr bwMode="auto">
          <a:xfrm>
            <a:off x="2969709" y="505360"/>
            <a:ext cx="2159" cy="4114152"/>
          </a:xfrm>
          <a:prstGeom prst="line">
            <a:avLst/>
          </a:prstGeom>
          <a:noFill/>
          <a:ln w="36720">
            <a:solidFill>
              <a:srgbClr val="0084D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1" tIns="45716" rIns="91431" bIns="45716"/>
          <a:lstStyle/>
          <a:p>
            <a:endParaRPr lang="en-US" sz="1837"/>
          </a:p>
        </p:txBody>
      </p:sp>
      <p:sp>
        <p:nvSpPr>
          <p:cNvPr id="12" name="Line 10"/>
          <p:cNvSpPr>
            <a:spLocks noChangeShapeType="1"/>
          </p:cNvSpPr>
          <p:nvPr userDrawn="1"/>
        </p:nvSpPr>
        <p:spPr bwMode="auto">
          <a:xfrm>
            <a:off x="760245" y="505360"/>
            <a:ext cx="2160" cy="4114152"/>
          </a:xfrm>
          <a:prstGeom prst="line">
            <a:avLst/>
          </a:prstGeom>
          <a:noFill/>
          <a:ln w="91440">
            <a:solidFill>
              <a:srgbClr val="0084D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1" tIns="45716" rIns="91431" bIns="45716"/>
          <a:lstStyle/>
          <a:p>
            <a:endParaRPr lang="en-US" sz="1837"/>
          </a:p>
        </p:txBody>
      </p:sp>
      <p:sp>
        <p:nvSpPr>
          <p:cNvPr id="13" name="Line 11"/>
          <p:cNvSpPr>
            <a:spLocks noChangeShapeType="1"/>
          </p:cNvSpPr>
          <p:nvPr userDrawn="1"/>
        </p:nvSpPr>
        <p:spPr bwMode="auto">
          <a:xfrm>
            <a:off x="328288" y="505360"/>
            <a:ext cx="2160" cy="4114152"/>
          </a:xfrm>
          <a:prstGeom prst="line">
            <a:avLst/>
          </a:prstGeom>
          <a:noFill/>
          <a:ln w="128160">
            <a:solidFill>
              <a:srgbClr val="0084D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1" tIns="45716" rIns="91431" bIns="45716"/>
          <a:lstStyle/>
          <a:p>
            <a:endParaRPr lang="en-US" sz="1837"/>
          </a:p>
        </p:txBody>
      </p:sp>
      <p:graphicFrame>
        <p:nvGraphicFramePr>
          <p:cNvPr id="14" name="Object 7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4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14" name="Object 7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en-US" sz="1837" dirty="0" err="1">
              <a:solidFill>
                <a:schemeClr val="tx1"/>
              </a:solidFill>
              <a:sym typeface="Arial"/>
            </a:endParaRPr>
          </a:p>
        </p:txBody>
      </p:sp>
      <p:sp>
        <p:nvSpPr>
          <p:cNvPr id="16" name="Rectangle 15"/>
          <p:cNvSpPr/>
          <p:nvPr userDrawn="1">
            <p:custDataLst>
              <p:tags r:id="rId5"/>
            </p:custDataLst>
          </p:nvPr>
        </p:nvSpPr>
        <p:spPr bwMode="gray">
          <a:xfrm>
            <a:off x="0" y="-1620"/>
            <a:ext cx="12192000" cy="68596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37" dirty="0" err="1">
              <a:solidFill>
                <a:schemeClr val="tx1"/>
              </a:solidFill>
            </a:endParaRPr>
          </a:p>
        </p:txBody>
      </p:sp>
      <p:sp>
        <p:nvSpPr>
          <p:cNvPr id="17" name="Working Draft Tex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73416" y="259160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b="1" dirty="0" smtClean="0">
                <a:solidFill>
                  <a:schemeClr val="bg1"/>
                </a:solidFill>
                <a:latin typeface="+mn-lt"/>
                <a:ea typeface="+mn-ea"/>
              </a:rPr>
              <a:t>WORKING DRAFT</a:t>
            </a:r>
          </a:p>
        </p:txBody>
      </p:sp>
      <p:sp>
        <p:nvSpPr>
          <p:cNvPr id="18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073415" y="417895"/>
            <a:ext cx="3347070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>
                <a:solidFill>
                  <a:schemeClr val="bg1"/>
                </a:solidFill>
                <a:latin typeface="+mn-lt"/>
                <a:ea typeface="+mn-ea"/>
              </a:rPr>
              <a:t>Last Modified 19/11/2013 10:33 Malay Peninsula Standard Time</a:t>
            </a:r>
            <a:endParaRPr lang="en-US" sz="918" dirty="0" smtClean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9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073415" y="578250"/>
            <a:ext cx="2553584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>
                <a:solidFill>
                  <a:schemeClr val="bg1"/>
                </a:solidFill>
                <a:latin typeface="+mn-lt"/>
                <a:ea typeface="+mn-ea"/>
              </a:rPr>
              <a:t>Printed 10/24/2013 4:32 PM India Standard Time</a:t>
            </a:r>
            <a:endParaRPr lang="en-US" sz="918" dirty="0" smtClean="0">
              <a:solidFill>
                <a:schemeClr val="bg1"/>
              </a:solidFill>
              <a:latin typeface="+mn-lt"/>
              <a:ea typeface="+mn-ea"/>
            </a:endParaRPr>
          </a:p>
        </p:txBody>
      </p:sp>
      <p:grpSp>
        <p:nvGrpSpPr>
          <p:cNvPr id="20" name="McK Title Element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073416" y="4493172"/>
            <a:ext cx="6714778" cy="500502"/>
            <a:chOff x="1663" y="3104"/>
            <a:chExt cx="3109" cy="309"/>
          </a:xfrm>
        </p:grpSpPr>
        <p:sp>
          <p:nvSpPr>
            <p:cNvPr id="21" name="McK Document type"/>
            <p:cNvSpPr txBox="1">
              <a:spLocks noChangeArrowheads="1"/>
            </p:cNvSpPr>
            <p:nvPr/>
          </p:nvSpPr>
          <p:spPr bwMode="gray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dirty="0" smtClean="0">
                  <a:solidFill>
                    <a:schemeClr val="accent4"/>
                  </a:solidFill>
                  <a:latin typeface="+mn-lt"/>
                  <a:ea typeface="+mn-ea"/>
                </a:rPr>
                <a:t>Document type</a:t>
              </a:r>
            </a:p>
          </p:txBody>
        </p:sp>
        <p:sp>
          <p:nvSpPr>
            <p:cNvPr id="22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dirty="0" smtClean="0">
                  <a:solidFill>
                    <a:schemeClr val="accent4"/>
                  </a:solidFill>
                  <a:latin typeface="+mn-lt"/>
                  <a:ea typeface="+mn-ea"/>
                </a:rPr>
                <a:t>Date</a:t>
              </a:r>
            </a:p>
          </p:txBody>
        </p:sp>
      </p:grpSp>
      <p:sp>
        <p:nvSpPr>
          <p:cNvPr id="31" name="doc id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11887405" y="37255"/>
            <a:ext cx="65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endParaRPr lang="en-US" altLang="en-US" sz="714" smtClean="0">
              <a:solidFill>
                <a:schemeClr val="bg1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3700489" y="4841777"/>
            <a:ext cx="8337799" cy="502445"/>
          </a:xfrm>
          <a:prstGeom prst="rect">
            <a:avLst/>
          </a:prstGeom>
        </p:spPr>
        <p:txBody>
          <a:bodyPr/>
          <a:lstStyle>
            <a:lvl1pPr>
              <a:defRPr sz="3265" b="1" baseline="0">
                <a:solidFill>
                  <a:schemeClr val="accent4"/>
                </a:solidFill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700490" y="5447551"/>
            <a:ext cx="8337798" cy="222155"/>
          </a:xfrm>
        </p:spPr>
        <p:txBody>
          <a:bodyPr/>
          <a:lstStyle>
            <a:lvl1pPr>
              <a:defRPr sz="1428" baseline="0">
                <a:solidFill>
                  <a:schemeClr val="accent4"/>
                </a:solidFill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5122" name="Picture 2" descr="http://livewire.tnb.com.my/PublishingImages/Design_v1/corpinfo/LogoInfoKit/tnb%20better%20brihgter.png"/>
          <p:cNvPicPr>
            <a:picLocks noChangeAspect="1" noChangeArrowheads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65" t="17015" r="7470" b="12794"/>
          <a:stretch/>
        </p:blipFill>
        <p:spPr bwMode="auto">
          <a:xfrm>
            <a:off x="218942" y="4873182"/>
            <a:ext cx="3327430" cy="1669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0295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6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en-US" sz="1837" dirty="0" err="1">
              <a:solidFill>
                <a:schemeClr val="tx1"/>
              </a:solidFill>
              <a:sym typeface="Arial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519789" y="6564902"/>
            <a:ext cx="158698" cy="156966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eaLnBrk="1" hangingPunct="1">
              <a:defRPr/>
            </a:pPr>
            <a:fld id="{B66ACD0A-6563-4F17-9070-FEDE0F18E1B8}" type="slidenum">
              <a:rPr lang="en-US" sz="1020" b="1" smtClean="0">
                <a:solidFill>
                  <a:srgbClr val="FFFFFF"/>
                </a:solidFill>
                <a:ea typeface="+mn-ea"/>
              </a:rPr>
              <a:pPr algn="ctr" eaLnBrk="1" hangingPunct="1">
                <a:defRPr/>
              </a:pPr>
              <a:t>‹#›</a:t>
            </a:fld>
            <a:endParaRPr lang="en-US" sz="1020" b="1" dirty="0">
              <a:solidFill>
                <a:srgbClr val="FFFFFF"/>
              </a:solidFill>
              <a:ea typeface="+mn-ea"/>
            </a:endParaRPr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5" y="230039"/>
            <a:ext cx="9715673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1837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947682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7"/>
          <p:cNvSpPr>
            <a:spLocks noChangeArrowheads="1"/>
          </p:cNvSpPr>
          <p:nvPr userDrawn="1"/>
        </p:nvSpPr>
        <p:spPr bwMode="auto">
          <a:xfrm>
            <a:off x="11310807" y="6474121"/>
            <a:ext cx="439544" cy="34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fld id="{C3E47614-91C8-42CB-BD78-BE4F29B0BE6E}" type="slidenum">
              <a:rPr lang="en-US" altLang="en-US" sz="1632" b="1" smtClean="0">
                <a:solidFill>
                  <a:srgbClr val="FFFFFF"/>
                </a:solidFill>
              </a:rPr>
              <a:pPr eaLnBrk="1" hangingPunct="1">
                <a:defRPr/>
              </a:pPr>
              <a:t>‹#›</a:t>
            </a:fld>
            <a:endParaRPr lang="en-US" altLang="en-US" sz="1632" smtClean="0"/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5" y="230038"/>
            <a:ext cx="971567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36575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89637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838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698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696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175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548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034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326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501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tags" Target="../tags/tag20.xml"/><Relationship Id="rId39" Type="http://schemas.openxmlformats.org/officeDocument/2006/relationships/image" Target="../media/image2.png"/><Relationship Id="rId21" Type="http://schemas.openxmlformats.org/officeDocument/2006/relationships/tags" Target="../tags/tag15.xml"/><Relationship Id="rId34" Type="http://schemas.openxmlformats.org/officeDocument/2006/relationships/tags" Target="../tags/tag28.xml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tags" Target="../tags/tag19.xml"/><Relationship Id="rId33" Type="http://schemas.openxmlformats.org/officeDocument/2006/relationships/tags" Target="../tags/tag27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29" Type="http://schemas.openxmlformats.org/officeDocument/2006/relationships/tags" Target="../tags/tag2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32" Type="http://schemas.openxmlformats.org/officeDocument/2006/relationships/tags" Target="../tags/tag26.xml"/><Relationship Id="rId37" Type="http://schemas.openxmlformats.org/officeDocument/2006/relationships/oleObject" Target="../embeddings/oleObject1.bin"/><Relationship Id="rId5" Type="http://schemas.openxmlformats.org/officeDocument/2006/relationships/theme" Target="../theme/theme2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28" Type="http://schemas.openxmlformats.org/officeDocument/2006/relationships/tags" Target="../tags/tag22.xml"/><Relationship Id="rId36" Type="http://schemas.openxmlformats.org/officeDocument/2006/relationships/tags" Target="../tags/tag30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31" Type="http://schemas.openxmlformats.org/officeDocument/2006/relationships/tags" Target="../tags/tag25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tags" Target="../tags/tag21.xml"/><Relationship Id="rId30" Type="http://schemas.openxmlformats.org/officeDocument/2006/relationships/tags" Target="../tags/tag24.xml"/><Relationship Id="rId35" Type="http://schemas.openxmlformats.org/officeDocument/2006/relationships/tags" Target="../tags/tag29.xml"/><Relationship Id="rId8" Type="http://schemas.openxmlformats.org/officeDocument/2006/relationships/tags" Target="../tags/tag2.xml"/><Relationship Id="rId3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193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" name="think-cell Slide" r:id="rId37" imgW="360" imgH="360" progId="TCLayout.ActiveDocument.1">
                  <p:embed/>
                </p:oleObj>
              </mc:Choice>
              <mc:Fallback>
                <p:oleObj name="think-cell Slide" r:id="rId37" imgW="360" imgH="360" progId="TCLayout.ActiveDocument.1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 rot="5400000">
            <a:off x="10981279" y="2210829"/>
            <a:ext cx="223138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>
                <a:latin typeface="+mn-lt"/>
                <a:ea typeface="+mn-ea"/>
              </a:rPr>
              <a:t>Last Modified 19/11/2013 10:33 Malay Peninsula Standard Time</a:t>
            </a:r>
            <a:endParaRPr lang="en-US" sz="1632" dirty="0" smtClean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 rot="5400000">
            <a:off x="11243370" y="4429069"/>
            <a:ext cx="170719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>
                <a:latin typeface="+mn-lt"/>
                <a:ea typeface="+mn-ea"/>
              </a:rPr>
              <a:t>Printed 10/24/2013 4:32 PM India Standard Time</a:t>
            </a:r>
            <a:endParaRPr lang="en-US" sz="1632" dirty="0" smtClean="0">
              <a:latin typeface="+mn-lt"/>
              <a:ea typeface="+mn-ea"/>
            </a:endParaRPr>
          </a:p>
        </p:txBody>
      </p:sp>
      <p:grpSp>
        <p:nvGrpSpPr>
          <p:cNvPr id="1029" name="LegendBoxes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0848617" y="704590"/>
            <a:ext cx="863915" cy="1017201"/>
            <a:chOff x="4936" y="176"/>
            <a:chExt cx="400" cy="628"/>
          </a:xfrm>
        </p:grpSpPr>
        <p:sp>
          <p:nvSpPr>
            <p:cNvPr id="1076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77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/>
            </a:p>
          </p:txBody>
        </p:sp>
        <p:sp>
          <p:nvSpPr>
            <p:cNvPr id="1078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79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/>
            </a:p>
          </p:txBody>
        </p:sp>
        <p:sp>
          <p:nvSpPr>
            <p:cNvPr id="1080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81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/>
            </a:p>
          </p:txBody>
        </p:sp>
        <p:sp>
          <p:nvSpPr>
            <p:cNvPr id="1082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83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/>
            </a:p>
          </p:txBody>
        </p:sp>
      </p:grpSp>
      <p:grpSp>
        <p:nvGrpSpPr>
          <p:cNvPr id="1030" name="LegendLine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0429617" y="704590"/>
            <a:ext cx="1282913" cy="745083"/>
            <a:chOff x="4750" y="176"/>
            <a:chExt cx="594" cy="4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1073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74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75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</p:grpSp>
      <p:grpSp>
        <p:nvGrpSpPr>
          <p:cNvPr id="1031" name="McKSticker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0436089" y="704590"/>
            <a:ext cx="1451377" cy="216085"/>
            <a:chOff x="7673881" y="285750"/>
            <a:chExt cx="1066894" cy="213016"/>
          </a:xfrm>
        </p:grpSpPr>
        <p:sp>
          <p:nvSpPr>
            <p:cNvPr id="1067" name="StickerRectangle"/>
            <p:cNvSpPr>
              <a:spLocks noChangeArrowheads="1"/>
            </p:cNvSpPr>
            <p:nvPr/>
          </p:nvSpPr>
          <p:spPr bwMode="gray">
            <a:xfrm>
              <a:off x="7941240" y="285750"/>
              <a:ext cx="799535" cy="2130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1068" name="AutoShape 31"/>
            <p:cNvCxnSpPr>
              <a:cxnSpLocks noChangeShapeType="1"/>
              <a:stCxn id="1067" idx="2"/>
              <a:endCxn id="1067" idx="4"/>
            </p:cNvCxnSpPr>
            <p:nvPr/>
          </p:nvCxnSpPr>
          <p:spPr bwMode="gray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9" name="AutoShape 32"/>
            <p:cNvCxnSpPr>
              <a:cxnSpLocks noChangeShapeType="1"/>
              <a:stCxn id="1067" idx="4"/>
              <a:endCxn id="1067" idx="6"/>
            </p:cNvCxnSpPr>
            <p:nvPr/>
          </p:nvCxnSpPr>
          <p:spPr bwMode="gray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2" name="LegendMoons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0757898" y="704589"/>
            <a:ext cx="955650" cy="1333050"/>
            <a:chOff x="6655594" y="273840"/>
            <a:chExt cx="702570" cy="1306516"/>
          </a:xfrm>
        </p:grpSpPr>
        <p:grpSp>
          <p:nvGrpSpPr>
            <p:cNvPr id="1047" name="MoonLegend1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</p:grpSp>
        <p:grpSp>
          <p:nvGrpSpPr>
            <p:cNvPr id="1048" name="MoonLegend2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</p:grpSp>
        <p:grpSp>
          <p:nvGrpSpPr>
            <p:cNvPr id="1049" name="MoonLegend4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</p:grpSp>
        <p:grpSp>
          <p:nvGrpSpPr>
            <p:cNvPr id="1050" name="MoonLegend5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</p:grpSp>
        <p:sp>
          <p:nvSpPr>
            <p:cNvPr id="1051" name="Legend1"/>
            <p:cNvSpPr>
              <a:spLocks noChangeArrowheads="1"/>
            </p:cNvSpPr>
            <p:nvPr/>
          </p:nvSpPr>
          <p:spPr bwMode="gray">
            <a:xfrm>
              <a:off x="6976334" y="286540"/>
              <a:ext cx="38183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52" name="Legend2"/>
            <p:cNvSpPr>
              <a:spLocks noChangeArrowheads="1"/>
            </p:cNvSpPr>
            <p:nvPr/>
          </p:nvSpPr>
          <p:spPr bwMode="gray">
            <a:xfrm>
              <a:off x="6976334" y="561178"/>
              <a:ext cx="38183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53" name="Legend3"/>
            <p:cNvSpPr>
              <a:spLocks noChangeArrowheads="1"/>
            </p:cNvSpPr>
            <p:nvPr/>
          </p:nvSpPr>
          <p:spPr bwMode="gray">
            <a:xfrm>
              <a:off x="6976334" y="835817"/>
              <a:ext cx="38183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54" name="Legend4"/>
            <p:cNvSpPr>
              <a:spLocks noChangeArrowheads="1"/>
            </p:cNvSpPr>
            <p:nvPr/>
          </p:nvSpPr>
          <p:spPr bwMode="gray">
            <a:xfrm>
              <a:off x="6976334" y="1107280"/>
              <a:ext cx="38183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55" name="Legend5"/>
            <p:cNvSpPr>
              <a:spLocks noChangeArrowheads="1"/>
            </p:cNvSpPr>
            <p:nvPr/>
          </p:nvSpPr>
          <p:spPr bwMode="gray">
            <a:xfrm>
              <a:off x="6976334" y="1383505"/>
              <a:ext cx="38183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grpSp>
          <p:nvGrpSpPr>
            <p:cNvPr id="1056" name="MoonLegend3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</p:grpSp>
      </p:grpSp>
      <p:sp>
        <p:nvSpPr>
          <p:cNvPr id="1033" name="doc id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1887405" y="37255"/>
            <a:ext cx="65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endParaRPr lang="en-US" altLang="en-US" sz="714" smtClean="0">
              <a:solidFill>
                <a:srgbClr val="000000"/>
              </a:solidFill>
            </a:endParaRPr>
          </a:p>
        </p:txBody>
      </p:sp>
      <p:sp>
        <p:nvSpPr>
          <p:cNvPr id="70" name="Slide Number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11519789" y="6564902"/>
            <a:ext cx="158698" cy="156966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eaLnBrk="1" hangingPunct="1">
              <a:defRPr/>
            </a:pPr>
            <a:fld id="{9487600F-5152-4F66-8313-3FCF042A23D7}" type="slidenum">
              <a:rPr lang="en-US" sz="1020" b="1" smtClean="0">
                <a:solidFill>
                  <a:schemeClr val="bg1"/>
                </a:solidFill>
                <a:ea typeface="+mn-ea"/>
              </a:rPr>
              <a:pPr algn="ctr" eaLnBrk="1" hangingPunct="1">
                <a:defRPr/>
              </a:pPr>
              <a:t>‹#›</a:t>
            </a:fld>
            <a:endParaRPr lang="en-US" sz="1020" b="1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2" name="Title Placeholder 2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gray">
          <a:xfrm>
            <a:off x="161986" y="239722"/>
            <a:ext cx="9714723" cy="298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36" name="McK 1. On-page tracker" hidden="1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61986" y="4860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sz="1428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161985" y="576630"/>
            <a:ext cx="586166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32" dirty="0" smtClean="0">
                <a:solidFill>
                  <a:srgbClr val="808080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038" name="Rectangle 286"/>
          <p:cNvSpPr>
            <a:spLocks noGrp="1" noChangeArrowheads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1976207" y="2500886"/>
            <a:ext cx="5853024" cy="125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grpSp>
        <p:nvGrpSpPr>
          <p:cNvPr id="1039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976207" y="1877285"/>
            <a:ext cx="5801189" cy="531276"/>
            <a:chOff x="915" y="702"/>
            <a:chExt cx="2686" cy="328"/>
          </a:xfrm>
        </p:grpSpPr>
        <p:cxnSp>
          <p:nvCxnSpPr>
            <p:cNvPr id="1045" name="AutoShape 249"/>
            <p:cNvCxnSpPr>
              <a:cxnSpLocks noChangeShapeType="1"/>
              <a:stCxn id="1046" idx="4"/>
              <a:endCxn id="1046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46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632" b="1" smtClean="0"/>
                <a:t>Title</a:t>
              </a:r>
            </a:p>
            <a:p>
              <a:pPr eaLnBrk="1" hangingPunct="1">
                <a:defRPr/>
              </a:pPr>
              <a:r>
                <a:rPr lang="en-US" altLang="en-US" sz="1632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040" name="McK Slide Elements" hidden="1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161985" y="6419049"/>
            <a:ext cx="10889648" cy="367682"/>
            <a:chOff x="75" y="3923"/>
            <a:chExt cx="644" cy="22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75" y="3923"/>
              <a:ext cx="644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0" dirty="0" smtClean="0"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044" name="McK 5. Source"/>
            <p:cNvSpPr>
              <a:spLocks noChangeArrowheads="1"/>
            </p:cNvSpPr>
            <p:nvPr/>
          </p:nvSpPr>
          <p:spPr bwMode="gray">
            <a:xfrm>
              <a:off x="75" y="4051"/>
              <a:ext cx="644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66725" indent="-466725" defTabSz="895350"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2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pic>
        <p:nvPicPr>
          <p:cNvPr id="1041" name="Picture 96"/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0412" y="103664"/>
            <a:ext cx="1505372" cy="565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8" name="Group 97"/>
          <p:cNvGrpSpPr/>
          <p:nvPr userDrawn="1"/>
        </p:nvGrpSpPr>
        <p:grpSpPr bwMode="auto">
          <a:xfrm>
            <a:off x="11309767" y="6501433"/>
            <a:ext cx="577702" cy="285419"/>
            <a:chOff x="457200" y="1291669"/>
            <a:chExt cx="8086725" cy="4063693"/>
          </a:xfrm>
          <a:solidFill>
            <a:srgbClr val="4269B8"/>
          </a:solidFill>
        </p:grpSpPr>
        <p:sp>
          <p:nvSpPr>
            <p:cNvPr id="99" name="Rounded Rectangle 98"/>
            <p:cNvSpPr/>
            <p:nvPr/>
          </p:nvSpPr>
          <p:spPr bwMode="auto">
            <a:xfrm>
              <a:off x="457200" y="2088287"/>
              <a:ext cx="8086725" cy="3267075"/>
            </a:xfrm>
            <a:prstGeom prst="round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837" err="1">
                <a:solidFill>
                  <a:srgbClr val="000000"/>
                </a:solidFill>
              </a:endParaRPr>
            </a:p>
          </p:txBody>
        </p:sp>
        <p:sp>
          <p:nvSpPr>
            <p:cNvPr id="100" name="Rectangle 99"/>
            <p:cNvSpPr/>
            <p:nvPr/>
          </p:nvSpPr>
          <p:spPr bwMode="auto">
            <a:xfrm>
              <a:off x="457200" y="4241957"/>
              <a:ext cx="914400" cy="1109516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837" err="1">
                <a:solidFill>
                  <a:srgbClr val="000000"/>
                </a:solidFill>
              </a:endParaRPr>
            </a:p>
          </p:txBody>
        </p:sp>
        <p:sp>
          <p:nvSpPr>
            <p:cNvPr id="101" name="Rounded Rectangle 100"/>
            <p:cNvSpPr/>
            <p:nvPr/>
          </p:nvSpPr>
          <p:spPr bwMode="auto">
            <a:xfrm>
              <a:off x="457200" y="1291669"/>
              <a:ext cx="8086725" cy="3267075"/>
            </a:xfrm>
            <a:prstGeom prst="round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837" err="1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7949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0" fontAlgn="base" hangingPunct="0">
        <a:spcBef>
          <a:spcPct val="0"/>
        </a:spcBef>
        <a:spcAft>
          <a:spcPct val="0"/>
        </a:spcAft>
        <a:tabLst>
          <a:tab pos="275353" algn="l"/>
        </a:tabLst>
        <a:defRPr sz="1939" b="1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  <a:lvl2pPr algn="l" defTabSz="913526" rtl="0" eaLnBrk="0" fontAlgn="base" hangingPunct="0">
        <a:spcBef>
          <a:spcPct val="0"/>
        </a:spcBef>
        <a:spcAft>
          <a:spcPct val="0"/>
        </a:spcAft>
        <a:tabLst>
          <a:tab pos="275353" algn="l"/>
        </a:tabLst>
        <a:defRPr sz="1939" b="1">
          <a:solidFill>
            <a:schemeClr val="tx2"/>
          </a:solidFill>
          <a:latin typeface="Calibri" panose="020F0502020204030204" pitchFamily="34" charset="0"/>
          <a:ea typeface="ＭＳ Ｐゴシック" panose="020B0600070205080204" pitchFamily="34" charset="-128"/>
        </a:defRPr>
      </a:lvl2pPr>
      <a:lvl3pPr algn="l" defTabSz="913526" rtl="0" eaLnBrk="0" fontAlgn="base" hangingPunct="0">
        <a:spcBef>
          <a:spcPct val="0"/>
        </a:spcBef>
        <a:spcAft>
          <a:spcPct val="0"/>
        </a:spcAft>
        <a:tabLst>
          <a:tab pos="275353" algn="l"/>
        </a:tabLst>
        <a:defRPr sz="1939" b="1">
          <a:solidFill>
            <a:schemeClr val="tx2"/>
          </a:solidFill>
          <a:latin typeface="Calibri" panose="020F0502020204030204" pitchFamily="34" charset="0"/>
          <a:ea typeface="ＭＳ Ｐゴシック" panose="020B0600070205080204" pitchFamily="34" charset="-128"/>
        </a:defRPr>
      </a:lvl3pPr>
      <a:lvl4pPr algn="l" defTabSz="913526" rtl="0" eaLnBrk="0" fontAlgn="base" hangingPunct="0">
        <a:spcBef>
          <a:spcPct val="0"/>
        </a:spcBef>
        <a:spcAft>
          <a:spcPct val="0"/>
        </a:spcAft>
        <a:tabLst>
          <a:tab pos="275353" algn="l"/>
        </a:tabLst>
        <a:defRPr sz="1939" b="1">
          <a:solidFill>
            <a:schemeClr val="tx2"/>
          </a:solidFill>
          <a:latin typeface="Calibri" panose="020F0502020204030204" pitchFamily="34" charset="0"/>
          <a:ea typeface="ＭＳ Ｐゴシック" panose="020B0600070205080204" pitchFamily="34" charset="-128"/>
        </a:defRPr>
      </a:lvl4pPr>
      <a:lvl5pPr algn="l" defTabSz="913526" rtl="0" eaLnBrk="0" fontAlgn="base" hangingPunct="0">
        <a:spcBef>
          <a:spcPct val="0"/>
        </a:spcBef>
        <a:spcAft>
          <a:spcPct val="0"/>
        </a:spcAft>
        <a:tabLst>
          <a:tab pos="275353" algn="l"/>
        </a:tabLst>
        <a:defRPr sz="1939" b="1">
          <a:solidFill>
            <a:schemeClr val="tx2"/>
          </a:solidFill>
          <a:latin typeface="Calibri" panose="020F0502020204030204" pitchFamily="34" charset="0"/>
          <a:ea typeface="ＭＳ Ｐゴシック" panose="020B0600070205080204" pitchFamily="34" charset="-128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197607" indent="-195987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32">
          <a:solidFill>
            <a:schemeClr val="tx1"/>
          </a:solidFill>
          <a:latin typeface="Calibri" panose="020F0502020204030204" pitchFamily="34" charset="0"/>
          <a:ea typeface="ＭＳ Ｐゴシック" panose="020B0600070205080204" pitchFamily="34" charset="-128"/>
        </a:defRPr>
      </a:lvl2pPr>
      <a:lvl3pPr marL="466481" indent="-267255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32">
          <a:solidFill>
            <a:schemeClr val="tx1"/>
          </a:solidFill>
          <a:latin typeface="Calibri" panose="020F0502020204030204" pitchFamily="34" charset="0"/>
          <a:ea typeface="ＭＳ Ｐゴシック" panose="020B0600070205080204" pitchFamily="34" charset="-128"/>
        </a:defRPr>
      </a:lvl3pPr>
      <a:lvl4pPr marL="626835" indent="-158733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32">
          <a:solidFill>
            <a:schemeClr val="tx1"/>
          </a:solidFill>
          <a:latin typeface="Calibri" panose="020F0502020204030204" pitchFamily="34" charset="0"/>
          <a:ea typeface="ＭＳ Ｐゴシック" panose="020B0600070205080204" pitchFamily="34" charset="-128"/>
        </a:defRPr>
      </a:lvl4pPr>
      <a:lvl5pPr marL="764511" indent="-132818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32">
          <a:solidFill>
            <a:schemeClr val="tx1"/>
          </a:solidFill>
          <a:latin typeface="Calibri" panose="020F0502020204030204" pitchFamily="34" charset="0"/>
          <a:ea typeface="ＭＳ Ｐゴシック" panose="020B0600070205080204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95156" y="5119523"/>
            <a:ext cx="9077973" cy="923330"/>
          </a:xfrm>
        </p:spPr>
        <p:txBody>
          <a:bodyPr/>
          <a:lstStyle/>
          <a:p>
            <a:pPr algn="r" eaLnBrk="1" hangingPunct="1">
              <a:defRPr/>
            </a:pPr>
            <a:r>
              <a:rPr lang="en-US" sz="2000" cap="all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PI 2018 </a:t>
            </a:r>
            <a:br>
              <a:rPr lang="en-US" sz="2000" cap="all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2000" cap="all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QUIREMENT STUDY FOR GIS DATA ANALYTIC </a:t>
            </a:r>
            <a:br>
              <a:rPr lang="en-US" sz="2000" cap="all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2000" cap="all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tribution Network Master Plan(</a:t>
            </a:r>
            <a:r>
              <a:rPr lang="en-US" sz="2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NMP</a:t>
            </a:r>
            <a:r>
              <a:rPr lang="en-US" sz="2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endParaRPr lang="en-U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Subtitle 2"/>
          <p:cNvSpPr txBox="1">
            <a:spLocks/>
          </p:cNvSpPr>
          <p:nvPr/>
        </p:nvSpPr>
        <p:spPr bwMode="gray">
          <a:xfrm>
            <a:off x="2130553" y="6296179"/>
            <a:ext cx="9942576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>
                <a:solidFill>
                  <a:schemeClr val="accent4"/>
                </a:solidFill>
                <a:latin typeface="Calibri" panose="020F0502020204030204" pitchFamily="34" charset="0"/>
                <a:ea typeface="+mj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 defTabSz="913526">
              <a:buClr>
                <a:srgbClr val="1F497D"/>
              </a:buClr>
              <a:defRPr/>
            </a:pPr>
            <a:r>
              <a:rPr lang="en-US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ik Mohd Fadhil Bin Nik Mohd Kamil</a:t>
            </a:r>
          </a:p>
          <a:p>
            <a:pPr algn="r" defTabSz="913526">
              <a:buClr>
                <a:srgbClr val="1F497D"/>
              </a:buClr>
              <a:defRPr/>
            </a:pPr>
            <a:r>
              <a:rPr lang="en-US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pping </a:t>
            </a: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amp; Analysis Unit, GIS Distribution </a:t>
            </a:r>
            <a:r>
              <a:rPr lang="en-US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ject | </a:t>
            </a:r>
            <a:r>
              <a:rPr lang="en-US" sz="1600" b="1" kern="0" dirty="0" smtClean="0">
                <a:solidFill>
                  <a:srgbClr val="042C7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7 </a:t>
            </a:r>
            <a:r>
              <a:rPr lang="en-US" sz="1600" b="1" kern="0" dirty="0" smtClean="0">
                <a:solidFill>
                  <a:srgbClr val="042C7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c 2018</a:t>
            </a:r>
            <a:endParaRPr lang="en-US" sz="1600" b="1" kern="0" dirty="0">
              <a:solidFill>
                <a:srgbClr val="042C75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6696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1985" y="569251"/>
            <a:ext cx="9715673" cy="307777"/>
          </a:xfrm>
        </p:spPr>
        <p:txBody>
          <a:bodyPr>
            <a:noAutofit/>
          </a:bodyPr>
          <a:lstStyle/>
          <a:p>
            <a:r>
              <a:rPr lang="en-US" sz="28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NMP &gt; FAS WORKING</a:t>
            </a:r>
            <a:endParaRPr lang="en-US" sz="28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r="375"/>
          <a:stretch/>
        </p:blipFill>
        <p:spPr>
          <a:xfrm>
            <a:off x="152082" y="1361796"/>
            <a:ext cx="11887836" cy="5314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965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81000" y="510255"/>
            <a:ext cx="9715673" cy="923330"/>
          </a:xfrm>
        </p:spPr>
        <p:txBody>
          <a:bodyPr>
            <a:noAutofit/>
          </a:bodyPr>
          <a:lstStyle/>
          <a:p>
            <a:r>
              <a:rPr lang="en-US" sz="28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NMP &gt; FAS </a:t>
            </a:r>
            <a:r>
              <a:rPr lang="en-US" sz="28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ING</a:t>
            </a: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28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PUT DATA DARIPADA GIS (SMALLWORLD)</a:t>
            </a:r>
            <a:endParaRPr lang="en-US" sz="28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129" t="1380" r="933" b="12431"/>
          <a:stretch/>
        </p:blipFill>
        <p:spPr>
          <a:xfrm>
            <a:off x="381000" y="1895170"/>
            <a:ext cx="11430000" cy="4601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251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1985" y="230039"/>
            <a:ext cx="9715673" cy="923330"/>
          </a:xfrm>
        </p:spPr>
        <p:txBody>
          <a:bodyPr>
            <a:noAutofit/>
          </a:bodyPr>
          <a:lstStyle/>
          <a:p>
            <a:r>
              <a:rPr lang="en-US" sz="28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NMP &gt; FAS </a:t>
            </a:r>
            <a:r>
              <a:rPr lang="en-US" sz="28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ING</a:t>
            </a:r>
            <a: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n-US" sz="2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28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PUT DATA DARIPADA GIS (SMALLWORLD)</a:t>
            </a:r>
            <a:endParaRPr lang="en-US" sz="28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t="3650"/>
          <a:stretch/>
        </p:blipFill>
        <p:spPr>
          <a:xfrm>
            <a:off x="603262" y="1387011"/>
            <a:ext cx="10985476" cy="5077739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688727" y="3585680"/>
            <a:ext cx="3246275" cy="19520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66533" y="3378887"/>
            <a:ext cx="44114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 smtClean="0">
                <a:solidFill>
                  <a:srgbClr val="FF0000"/>
                </a:solidFill>
              </a:rPr>
              <a:t>1</a:t>
            </a:r>
            <a:endParaRPr lang="en-US" sz="3600" dirty="0">
              <a:solidFill>
                <a:srgbClr val="FF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124591" y="2384747"/>
            <a:ext cx="4531057" cy="19243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722000" y="2945763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 smtClean="0">
                <a:solidFill>
                  <a:srgbClr val="FF0000"/>
                </a:solidFill>
              </a:rPr>
              <a:t>2</a:t>
            </a:r>
            <a:endParaRPr lang="en-US" sz="4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819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8" grpId="0" animBg="1"/>
      <p:bldP spid="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4807"/>
          <a:stretch/>
        </p:blipFill>
        <p:spPr>
          <a:xfrm>
            <a:off x="161985" y="1315090"/>
            <a:ext cx="11631342" cy="5306166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43710" y="3672415"/>
            <a:ext cx="3045239" cy="41044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271936" y="3554470"/>
            <a:ext cx="44114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 smtClean="0">
                <a:solidFill>
                  <a:srgbClr val="FF0000"/>
                </a:solidFill>
              </a:rPr>
              <a:t>3</a:t>
            </a:r>
            <a:endParaRPr lang="en-US" sz="3600" dirty="0">
              <a:solidFill>
                <a:srgbClr val="FF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594750" y="2503549"/>
            <a:ext cx="5009559" cy="384725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620412" y="4001847"/>
            <a:ext cx="44114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 smtClean="0">
                <a:solidFill>
                  <a:srgbClr val="FF0000"/>
                </a:solidFill>
              </a:rPr>
              <a:t>4</a:t>
            </a:r>
            <a:endParaRPr lang="en-US" sz="3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922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/>
      <p:bldP spid="7" grpId="0" animBg="1"/>
      <p:bldP spid="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279" y="696647"/>
            <a:ext cx="11752511" cy="5608387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41194" y="4449672"/>
            <a:ext cx="3634905" cy="64144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41194" y="5188542"/>
            <a:ext cx="3645179" cy="35994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961234" y="5027580"/>
            <a:ext cx="4957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FF0000"/>
                </a:solidFill>
              </a:rPr>
              <a:t>6</a:t>
            </a:r>
          </a:p>
        </p:txBody>
      </p:sp>
      <p:sp>
        <p:nvSpPr>
          <p:cNvPr id="8" name="Rectangle 7"/>
          <p:cNvSpPr/>
          <p:nvPr/>
        </p:nvSpPr>
        <p:spPr>
          <a:xfrm>
            <a:off x="3961234" y="4476477"/>
            <a:ext cx="44114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 smtClean="0">
                <a:solidFill>
                  <a:srgbClr val="FF0000"/>
                </a:solidFill>
              </a:rPr>
              <a:t>5</a:t>
            </a:r>
            <a:endParaRPr lang="en-US" sz="3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5144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/>
      <p:bldP spid="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1358" t="1232" r="1677" b="584"/>
          <a:stretch/>
        </p:blipFill>
        <p:spPr>
          <a:xfrm>
            <a:off x="308225" y="842481"/>
            <a:ext cx="11301574" cy="5424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206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0" y="3154680"/>
            <a:ext cx="12192000" cy="54864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5 WAY FORWARDS</a:t>
            </a:r>
            <a:endParaRPr lang="en-US" sz="3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1474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61985" y="230039"/>
            <a:ext cx="9715673" cy="6155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NMP &gt; CADANGAN </a:t>
            </a:r>
            <a:r>
              <a:rPr lang="en-US" b="1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NAMBAHBAIKAN</a:t>
            </a: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BAGI </a:t>
            </a:r>
            <a:b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PUT DATA </a:t>
            </a:r>
            <a:r>
              <a:rPr lang="en-US" b="1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RIpada</a:t>
            </a: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gis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28886"/>
            <a:ext cx="5431809" cy="58672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54639" y="1128886"/>
            <a:ext cx="6637361" cy="4584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219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96738"/>
            <a:ext cx="4790364" cy="594972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3414" y="696738"/>
            <a:ext cx="7258586" cy="4393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7230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809369"/>
            <a:ext cx="12192000" cy="54864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BLE OF CONTENT</a:t>
            </a:r>
            <a:endParaRPr lang="en-US" sz="3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5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55077820"/>
              </p:ext>
            </p:extLst>
          </p:nvPr>
        </p:nvGraphicFramePr>
        <p:xfrm>
          <a:off x="152400" y="2057400"/>
          <a:ext cx="11887200" cy="274320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762228">
                  <a:extLst>
                    <a:ext uri="{9D8B030D-6E8A-4147-A177-3AD203B41FA5}">
                      <a16:colId xmlns:a16="http://schemas.microsoft.com/office/drawing/2014/main" val="2707649039"/>
                    </a:ext>
                  </a:extLst>
                </a:gridCol>
                <a:gridCol w="9688324">
                  <a:extLst>
                    <a:ext uri="{9D8B030D-6E8A-4147-A177-3AD203B41FA5}">
                      <a16:colId xmlns:a16="http://schemas.microsoft.com/office/drawing/2014/main" val="4089266019"/>
                    </a:ext>
                  </a:extLst>
                </a:gridCol>
                <a:gridCol w="1436648">
                  <a:extLst>
                    <a:ext uri="{9D8B030D-6E8A-4147-A177-3AD203B41FA5}">
                      <a16:colId xmlns:a16="http://schemas.microsoft.com/office/drawing/2014/main" val="3215620487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cap="all" baseline="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o</a:t>
                      </a:r>
                      <a:endParaRPr lang="en-US" sz="1800" b="1" i="0" u="none" strike="noStrike" cap="all" baseline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 cap="all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TENT</a:t>
                      </a:r>
                      <a:endParaRPr lang="en-US" sz="1800" b="1" i="0" u="none" strike="noStrike" cap="all" baseline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cap="all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LIDE NO</a:t>
                      </a:r>
                      <a:endParaRPr lang="en-US" sz="1800" b="1" i="0" u="none" strike="noStrike" cap="all" baseline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589272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BJECTIV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2398868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8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FFICIAL MEETING CONDUCTED</a:t>
                      </a:r>
                      <a:endParaRPr lang="en-US" sz="18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8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</a:t>
                      </a:r>
                      <a:endParaRPr lang="en-US" sz="18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16173838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EFERENC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4151650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INDING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0430043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WAY FORWARD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778193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3347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27355"/>
            <a:ext cx="12192000" cy="54864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1 OBJECTIVES</a:t>
            </a:r>
            <a:endParaRPr lang="en-US" sz="3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5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18896843"/>
              </p:ext>
            </p:extLst>
          </p:nvPr>
        </p:nvGraphicFramePr>
        <p:xfrm>
          <a:off x="152400" y="2514600"/>
          <a:ext cx="11887200" cy="182880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013597">
                  <a:extLst>
                    <a:ext uri="{9D8B030D-6E8A-4147-A177-3AD203B41FA5}">
                      <a16:colId xmlns:a16="http://schemas.microsoft.com/office/drawing/2014/main" val="2707649039"/>
                    </a:ext>
                  </a:extLst>
                </a:gridCol>
                <a:gridCol w="10873603">
                  <a:extLst>
                    <a:ext uri="{9D8B030D-6E8A-4147-A177-3AD203B41FA5}">
                      <a16:colId xmlns:a16="http://schemas.microsoft.com/office/drawing/2014/main" val="4089266019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o</a:t>
                      </a:r>
                      <a:endParaRPr lang="en-US" sz="20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BJECTIVE</a:t>
                      </a:r>
                      <a:endParaRPr lang="en-US" sz="20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589272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o study existing </a:t>
                      </a: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NMP </a:t>
                      </a: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emplate and related</a:t>
                      </a:r>
                      <a:r>
                        <a:rPr lang="en-US" sz="2000" b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documents</a:t>
                      </a:r>
                      <a:endParaRPr lang="en-US" sz="2000" b="1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2398868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o gather user requirement</a:t>
                      </a:r>
                      <a:r>
                        <a:rPr lang="en-US" sz="2000" b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for GIS use in </a:t>
                      </a: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NMP</a:t>
                      </a:r>
                      <a:endParaRPr lang="en-US" sz="20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16173838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o get way</a:t>
                      </a:r>
                      <a:r>
                        <a:rPr lang="en-US" sz="2000" b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forwards of GIS use in </a:t>
                      </a: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NMP</a:t>
                      </a:r>
                      <a:endParaRPr lang="en-US" sz="2000" b="1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415165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75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25911"/>
            <a:ext cx="12192000" cy="54864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2 OFFICIAL MEETING CONDUCTED</a:t>
            </a:r>
            <a:endParaRPr lang="en-US" sz="3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5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80009552"/>
              </p:ext>
            </p:extLst>
          </p:nvPr>
        </p:nvGraphicFramePr>
        <p:xfrm>
          <a:off x="152400" y="1485122"/>
          <a:ext cx="11887200" cy="4192557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3059914">
                  <a:extLst>
                    <a:ext uri="{9D8B030D-6E8A-4147-A177-3AD203B41FA5}">
                      <a16:colId xmlns:a16="http://schemas.microsoft.com/office/drawing/2014/main" val="4089266019"/>
                    </a:ext>
                  </a:extLst>
                </a:gridCol>
                <a:gridCol w="8827286">
                  <a:extLst>
                    <a:ext uri="{9D8B030D-6E8A-4147-A177-3AD203B41FA5}">
                      <a16:colId xmlns:a16="http://schemas.microsoft.com/office/drawing/2014/main" val="1084252684"/>
                    </a:ext>
                  </a:extLst>
                </a:gridCol>
              </a:tblGrid>
              <a:tr h="525432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ate</a:t>
                      </a:r>
                      <a:endParaRPr lang="en-US" sz="20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ttendance</a:t>
                      </a:r>
                      <a:endParaRPr lang="en-US" sz="20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5892726"/>
                  </a:ext>
                </a:extLst>
              </a:tr>
              <a:tr h="13716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4 July 2018 @ </a:t>
                      </a:r>
                    </a:p>
                    <a:p>
                      <a:pPr algn="ctr" fontAlgn="b"/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NB Banda </a:t>
                      </a:r>
                      <a:r>
                        <a:rPr lang="en-US" sz="2000" b="1" u="none" strike="noStrike" baseline="0" dirty="0" err="1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Kaba</a:t>
                      </a:r>
                      <a:endParaRPr lang="en-US" sz="2000" b="1" u="none" strike="noStrike" baseline="0" dirty="0" smtClean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742950" marR="0" lvl="1" indent="-2857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ik Mohd Fadhil Bin Nik Mohd Kamil (GIS D)</a:t>
                      </a:r>
                    </a:p>
                    <a:p>
                      <a:pPr marL="800100" marR="0" lvl="1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pping &amp; Analysis Technician (GIS D)</a:t>
                      </a:r>
                    </a:p>
                    <a:p>
                      <a:pPr marL="742950" lvl="1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asliana Binti Mohamad (GIS D)</a:t>
                      </a:r>
                    </a:p>
                    <a:p>
                      <a:pPr marL="742950" lvl="1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hd Saiful Anuar bin Mohd Rapheal (GIS D)</a:t>
                      </a:r>
                    </a:p>
                    <a:p>
                      <a:pPr marL="742950" lvl="1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ozana binti Romainor (GIS D)</a:t>
                      </a:r>
                    </a:p>
                    <a:p>
                      <a:pPr marL="457200" lvl="1" indent="0" algn="l" fontAlgn="b">
                        <a:buFont typeface="Arial" panose="020B0604020202020204" pitchFamily="34" charset="0"/>
                        <a:buNone/>
                      </a:pPr>
                      <a:endParaRPr lang="en-US" sz="2000" b="1" u="none" strike="noStrike" baseline="0" dirty="0" smtClean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742950" marR="0" lvl="1" indent="-2857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hamad Izham b. Pazarizal (Cheras)</a:t>
                      </a:r>
                    </a:p>
                    <a:p>
                      <a:pPr marL="742950" lvl="1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Zulhairi Wan Mat (Cheras)</a:t>
                      </a:r>
                    </a:p>
                    <a:p>
                      <a:pPr marL="742950" marR="0" lvl="1" indent="-2857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uhammad Izzat b. Mukhtar (Cheras)</a:t>
                      </a:r>
                    </a:p>
                    <a:p>
                      <a:pPr marL="742950" lvl="1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izat b. Noor Azmi (Petaling Jaya)</a:t>
                      </a:r>
                    </a:p>
                    <a:p>
                      <a:pPr marL="742950" lvl="1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hamad Izham b. Pazarizal (Cheras)</a:t>
                      </a:r>
                    </a:p>
                    <a:p>
                      <a:pPr marL="742950" lvl="1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dawati binti Muhammad Sam (</a:t>
                      </a:r>
                      <a:r>
                        <a:rPr lang="en-US" sz="2000" b="1" u="none" strike="noStrike" baseline="0" dirty="0" err="1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awang</a:t>
                      </a:r>
                      <a:r>
                        <a:rPr lang="en-US" sz="2000" b="1" u="none" strike="noStrike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23988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401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765121"/>
            <a:ext cx="12192000" cy="54864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3 REFERENCES</a:t>
            </a:r>
            <a:endParaRPr lang="en-US" sz="3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5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80113525"/>
              </p:ext>
            </p:extLst>
          </p:nvPr>
        </p:nvGraphicFramePr>
        <p:xfrm>
          <a:off x="152400" y="1535360"/>
          <a:ext cx="11887200" cy="2693076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984390">
                  <a:extLst>
                    <a:ext uri="{9D8B030D-6E8A-4147-A177-3AD203B41FA5}">
                      <a16:colId xmlns:a16="http://schemas.microsoft.com/office/drawing/2014/main" val="2707649039"/>
                    </a:ext>
                  </a:extLst>
                </a:gridCol>
                <a:gridCol w="10902810">
                  <a:extLst>
                    <a:ext uri="{9D8B030D-6E8A-4147-A177-3AD203B41FA5}">
                      <a16:colId xmlns:a16="http://schemas.microsoft.com/office/drawing/2014/main" val="4089266019"/>
                    </a:ext>
                  </a:extLst>
                </a:gridCol>
              </a:tblGrid>
              <a:tr h="4488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o</a:t>
                      </a:r>
                      <a:endParaRPr lang="en-US" sz="20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OURCE</a:t>
                      </a:r>
                      <a:endParaRPr lang="en-US" sz="20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5892726"/>
                  </a:ext>
                </a:extLst>
              </a:tr>
              <a:tr h="4488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istribution Network Master </a:t>
                      </a:r>
                      <a:r>
                        <a:rPr lang="en-US" sz="2000" b="1" dirty="0" err="1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lanTemplate</a:t>
                      </a: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(Asset</a:t>
                      </a:r>
                      <a:r>
                        <a:rPr lang="en-US" sz="2000" b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Management Dept.)</a:t>
                      </a:r>
                      <a:endParaRPr lang="en-US" sz="2000" b="1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23988682"/>
                  </a:ext>
                </a:extLst>
              </a:tr>
              <a:tr h="4488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istribution Planners Handbook (Asset</a:t>
                      </a:r>
                      <a:r>
                        <a:rPr lang="en-US" sz="2000" b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Management Dept.)</a:t>
                      </a:r>
                      <a:endParaRPr lang="en-US" sz="2000" b="1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16173838"/>
                  </a:ext>
                </a:extLst>
              </a:tr>
              <a:tr h="4488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err="1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sedur</a:t>
                      </a: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`DNMP </a:t>
                      </a:r>
                      <a:r>
                        <a:rPr lang="en-US" sz="2000" b="1" dirty="0" err="1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2kV</a:t>
                      </a: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and below’ (</a:t>
                      </a:r>
                      <a:r>
                        <a:rPr lang="en-US" sz="2000" b="1" dirty="0" err="1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NGR</a:t>
                      </a: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-750-73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45917433"/>
                  </a:ext>
                </a:extLst>
              </a:tr>
              <a:tr h="4488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err="1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sedur</a:t>
                      </a: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`DNMP 33kV and below’ (</a:t>
                      </a:r>
                      <a:r>
                        <a:rPr lang="en-US" sz="2000" b="1" dirty="0" err="1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NGR</a:t>
                      </a: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-750-74)</a:t>
                      </a:r>
                      <a:endParaRPr lang="en-US" sz="2000" b="1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91434332"/>
                  </a:ext>
                </a:extLst>
              </a:tr>
              <a:tr h="4488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istribution Planners Handbook (Asset</a:t>
                      </a:r>
                      <a:r>
                        <a:rPr lang="en-US" sz="2000" b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Management Dept.)</a:t>
                      </a:r>
                      <a:endParaRPr lang="en-US" sz="2000" b="1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50814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473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0" y="3154680"/>
            <a:ext cx="12192000" cy="54864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4 FINDINGS</a:t>
            </a:r>
            <a:endParaRPr lang="en-US" sz="3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819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4974" y="37184"/>
            <a:ext cx="10222052" cy="6783632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427562" y="898162"/>
            <a:ext cx="1173193" cy="654593"/>
          </a:xfrm>
          <a:prstGeom prst="rect">
            <a:avLst/>
          </a:prstGeom>
          <a:noFill/>
          <a:ln w="57150">
            <a:solidFill>
              <a:srgbClr val="DE34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51962" y="964297"/>
            <a:ext cx="1173193" cy="548201"/>
          </a:xfrm>
          <a:prstGeom prst="rect">
            <a:avLst/>
          </a:prstGeom>
          <a:noFill/>
          <a:ln w="57150">
            <a:solidFill>
              <a:srgbClr val="DE34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09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0276764" y="95534"/>
            <a:ext cx="1801505" cy="72333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61985" y="230039"/>
            <a:ext cx="9715673" cy="307777"/>
          </a:xfrm>
        </p:spPr>
        <p:txBody>
          <a:bodyPr>
            <a:noAutofit/>
          </a:bodyPr>
          <a:lstStyle/>
          <a:p>
            <a:r>
              <a:rPr lang="en-US" sz="28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NMP &gt; STEP LOAD</a:t>
            </a:r>
            <a:endParaRPr lang="en-US" sz="28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b="35511"/>
          <a:stretch/>
        </p:blipFill>
        <p:spPr>
          <a:xfrm>
            <a:off x="176154" y="675124"/>
            <a:ext cx="11829033" cy="3631406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76983" y="693176"/>
            <a:ext cx="4262282" cy="3598606"/>
          </a:xfrm>
          <a:prstGeom prst="rect">
            <a:avLst/>
          </a:prstGeom>
          <a:noFill/>
          <a:ln w="76200">
            <a:solidFill>
              <a:srgbClr val="DE3414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430297" y="697198"/>
            <a:ext cx="3232577" cy="3609331"/>
          </a:xfrm>
          <a:prstGeom prst="rect">
            <a:avLst/>
          </a:prstGeom>
          <a:noFill/>
          <a:ln w="76200">
            <a:solidFill>
              <a:srgbClr val="DE3414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 err="1" smtClean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673208" y="5384586"/>
            <a:ext cx="43704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-data </a:t>
            </a:r>
            <a:r>
              <a:rPr lang="en-US" sz="16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oleh</a:t>
            </a: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iperolehi </a:t>
            </a:r>
            <a:endParaRPr lang="en-US" sz="1600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en-US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ripada Lite </a:t>
            </a:r>
            <a:r>
              <a:rPr lang="en-US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ditor GIS</a:t>
            </a:r>
            <a:endParaRPr lang="en-US" sz="16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9501" y="5211095"/>
            <a:ext cx="44687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-data </a:t>
            </a:r>
            <a:r>
              <a:rPr lang="en-US" sz="16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oleh</a:t>
            </a: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iperolehi </a:t>
            </a:r>
            <a:endParaRPr lang="en-US" sz="1600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en-US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ripada Lite </a:t>
            </a: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ditor GIS</a:t>
            </a:r>
          </a:p>
        </p:txBody>
      </p:sp>
      <p:sp>
        <p:nvSpPr>
          <p:cNvPr id="11" name="Left Brace 10"/>
          <p:cNvSpPr/>
          <p:nvPr/>
        </p:nvSpPr>
        <p:spPr>
          <a:xfrm rot="16200000">
            <a:off x="1983662" y="2588342"/>
            <a:ext cx="545692" cy="4306527"/>
          </a:xfrm>
          <a:prstGeom prst="leftBrace">
            <a:avLst>
              <a:gd name="adj1" fmla="val 8333"/>
              <a:gd name="adj2" fmla="val 50442"/>
            </a:avLst>
          </a:prstGeom>
          <a:ln w="57150">
            <a:solidFill>
              <a:srgbClr val="DE3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Left Brace 11"/>
          <p:cNvSpPr/>
          <p:nvPr/>
        </p:nvSpPr>
        <p:spPr>
          <a:xfrm rot="16200000">
            <a:off x="7514619" y="2701727"/>
            <a:ext cx="614518" cy="4148583"/>
          </a:xfrm>
          <a:prstGeom prst="leftBrace">
            <a:avLst>
              <a:gd name="adj1" fmla="val 8333"/>
              <a:gd name="adj2" fmla="val 50442"/>
            </a:avLst>
          </a:prstGeom>
          <a:ln w="57150">
            <a:solidFill>
              <a:srgbClr val="DE3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Left Brace 12"/>
          <p:cNvSpPr/>
          <p:nvPr/>
        </p:nvSpPr>
        <p:spPr>
          <a:xfrm rot="16200000">
            <a:off x="4935795" y="4109882"/>
            <a:ext cx="1150375" cy="1897628"/>
          </a:xfrm>
          <a:prstGeom prst="leftBrace">
            <a:avLst>
              <a:gd name="adj1" fmla="val 8333"/>
              <a:gd name="adj2" fmla="val 50442"/>
            </a:avLst>
          </a:prstGeom>
          <a:ln w="57150">
            <a:solidFill>
              <a:srgbClr val="DE3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633017" y="6012424"/>
            <a:ext cx="37559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-data </a:t>
            </a:r>
            <a:r>
              <a:rPr lang="en-US" sz="16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oleh</a:t>
            </a: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iperolehi </a:t>
            </a:r>
            <a:r>
              <a:rPr lang="en-US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ripada Desktop </a:t>
            </a:r>
            <a:r>
              <a:rPr lang="en-US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IS</a:t>
            </a:r>
            <a:endParaRPr lang="en-US" sz="16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449100" y="693176"/>
            <a:ext cx="1981197" cy="3613353"/>
          </a:xfrm>
          <a:prstGeom prst="rect">
            <a:avLst/>
          </a:prstGeom>
          <a:noFill/>
          <a:ln w="76200">
            <a:solidFill>
              <a:srgbClr val="DE3414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 err="1" smtClean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1937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0" grpId="0"/>
      <p:bldP spid="11" grpId="0" animBg="1"/>
      <p:bldP spid="12" grpId="0" animBg="1"/>
      <p:bldP spid="13" grpId="0" animBg="1"/>
      <p:bldP spid="14" grpId="0"/>
      <p:bldP spid="1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1985" y="230039"/>
            <a:ext cx="9715673" cy="923330"/>
          </a:xfrm>
        </p:spPr>
        <p:txBody>
          <a:bodyPr>
            <a:noAutofit/>
          </a:bodyPr>
          <a:lstStyle/>
          <a:p>
            <a:r>
              <a:rPr lang="en-US" sz="2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NMP &gt; </a:t>
            </a:r>
            <a:r>
              <a:rPr lang="en-US" sz="28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EP</a:t>
            </a:r>
            <a:r>
              <a:rPr lang="en-US" sz="2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AD</a:t>
            </a:r>
            <a:r>
              <a:rPr lang="en-US" sz="2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n-US" sz="2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2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PUT DATA DARIPADA GIS (LITE EDITOR)</a:t>
            </a:r>
            <a:endParaRPr lang="en-US" sz="2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3945" y="1489796"/>
            <a:ext cx="8823728" cy="4907796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075709" y="2881745"/>
            <a:ext cx="2964873" cy="360219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75708" y="3536826"/>
            <a:ext cx="7051965" cy="360219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729345" y="5583856"/>
            <a:ext cx="3311237" cy="678399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6420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L6Qkkz6kKGmPOpLa6.K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GNuqw4lE2PEkA4_Fvk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jrkqkH30e6Jt7UzxiZ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xvrBbg3U.kgrg1wFol2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GVMiDqI06manaXfIwh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UcFxQ9LUOPgklmZbZ05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48aMy_REKFePesioOIQ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N.X4GEj0O27y8e67V6m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KoVuKSAkuAwUggqBnYv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CIZmZSC06NQoupCYpi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xmJ7Dgf0mzk_u7sVs0D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TLvg4OBEaw7KRold4B0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C1y0adAEmlPpNnDgw3q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s3GuXbkSUf4DXwi5S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VA1IoDOEG5zzkqP8yQF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m6uPOVnUKe4y9G5Ci9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OewTOLsEWynmD9nUrT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5iXMDUA068H1HIUQaz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8SS0K7Sbk.bzBIIIEKO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TLvg4OBEaw7KRold4B0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2CRC7sQ0i_iciktWpn.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PCM_CF_KLO255 V1">
  <a:themeElements>
    <a:clrScheme name="Current">
      <a:dk1>
        <a:srgbClr val="000000"/>
      </a:dk1>
      <a:lt1>
        <a:srgbClr val="FFFFFF"/>
      </a:lt1>
      <a:dk2>
        <a:srgbClr val="042C75"/>
      </a:dk2>
      <a:lt2>
        <a:srgbClr val="FFFFFF"/>
      </a:lt2>
      <a:accent1>
        <a:srgbClr val="CFDBE1"/>
      </a:accent1>
      <a:accent2>
        <a:srgbClr val="7896C4"/>
      </a:accent2>
      <a:accent3>
        <a:srgbClr val="3D61A7"/>
      </a:accent3>
      <a:accent4>
        <a:srgbClr val="042C75"/>
      </a:accent4>
      <a:accent5>
        <a:srgbClr val="FF6600"/>
      </a:accent5>
      <a:accent6>
        <a:srgbClr val="808080"/>
      </a:accent6>
      <a:hlink>
        <a:srgbClr val="3D61A7"/>
      </a:hlink>
      <a:folHlink>
        <a:srgbClr val="042C75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TPCM_CF_KLO255 V1 1">
        <a:dk1>
          <a:srgbClr val="000000"/>
        </a:dk1>
        <a:lt1>
          <a:srgbClr val="FFFFFF"/>
        </a:lt1>
        <a:dk2>
          <a:srgbClr val="042C75"/>
        </a:dk2>
        <a:lt2>
          <a:srgbClr val="FFFFFF"/>
        </a:lt2>
        <a:accent1>
          <a:srgbClr val="CFDBE1"/>
        </a:accent1>
        <a:accent2>
          <a:srgbClr val="7896C4"/>
        </a:accent2>
        <a:accent3>
          <a:srgbClr val="FFFFFF"/>
        </a:accent3>
        <a:accent4>
          <a:srgbClr val="000000"/>
        </a:accent4>
        <a:accent5>
          <a:srgbClr val="E4EAEE"/>
        </a:accent5>
        <a:accent6>
          <a:srgbClr val="6C87B1"/>
        </a:accent6>
        <a:hlink>
          <a:srgbClr val="3D61A7"/>
        </a:hlink>
        <a:folHlink>
          <a:srgbClr val="042C7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15</TotalTime>
  <Words>297</Words>
  <Application>Microsoft Office PowerPoint</Application>
  <PresentationFormat>Widescreen</PresentationFormat>
  <Paragraphs>81</Paragraphs>
  <Slides>1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ＭＳ Ｐゴシック</vt:lpstr>
      <vt:lpstr>Arial</vt:lpstr>
      <vt:lpstr>Calibri</vt:lpstr>
      <vt:lpstr>Calibri Light</vt:lpstr>
      <vt:lpstr>Verdana</vt:lpstr>
      <vt:lpstr>Office Theme</vt:lpstr>
      <vt:lpstr>TPCM_CF_KLO255 V1</vt:lpstr>
      <vt:lpstr>think-cell Slide</vt:lpstr>
      <vt:lpstr>KPI 2018  REQUIREMENT STUDY FOR GIS DATA ANALYTIC  Distribution Network Master Plan(DNMP)</vt:lpstr>
      <vt:lpstr>TABLE OF CONTENT</vt:lpstr>
      <vt:lpstr>#1 OBJECTIVES</vt:lpstr>
      <vt:lpstr>#2 OFFICIAL MEETING CONDUCTED</vt:lpstr>
      <vt:lpstr>#3 REFERENCES</vt:lpstr>
      <vt:lpstr>#4 FINDINGS</vt:lpstr>
      <vt:lpstr>PowerPoint Presentation</vt:lpstr>
      <vt:lpstr>DNMP &gt; STEP LOAD</vt:lpstr>
      <vt:lpstr>DNMP &gt; STEP LOAD INPUT DATA DARIPADA GIS (LITE EDITOR)</vt:lpstr>
      <vt:lpstr>DNMP &gt; FAS WORKING</vt:lpstr>
      <vt:lpstr>DNMP &gt; FAS WORKING INPUT DATA DARIPADA GIS (SMALLWORLD)</vt:lpstr>
      <vt:lpstr>DNMP &gt; FAS WORKING INPUT DATA DARIPADA GIS (SMALLWORLD)</vt:lpstr>
      <vt:lpstr>PowerPoint Presentation</vt:lpstr>
      <vt:lpstr>PowerPoint Presentation</vt:lpstr>
      <vt:lpstr>PowerPoint Presentation</vt:lpstr>
      <vt:lpstr>#5 WAY FORWARD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k Mohd Fadhil bin Nik Mohd Kamil</dc:creator>
  <cp:lastModifiedBy>Nik Mohd Fadhil bin Nik Mohd Kamil</cp:lastModifiedBy>
  <cp:revision>127</cp:revision>
  <dcterms:created xsi:type="dcterms:W3CDTF">2018-03-14T08:07:11Z</dcterms:created>
  <dcterms:modified xsi:type="dcterms:W3CDTF">2018-12-27T01:56:39Z</dcterms:modified>
</cp:coreProperties>
</file>